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56" r:id="rId2"/>
  </p:sldIdLst>
  <p:sldSz cx="13442950" cy="7561263"/>
  <p:notesSz cx="6858000" cy="9144000"/>
  <p:defaultTextStyle>
    <a:defPPr>
      <a:defRPr lang="en-US"/>
    </a:defPPr>
    <a:lvl1pPr marL="0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1pPr>
    <a:lvl2pPr marL="504063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2pPr>
    <a:lvl3pPr marL="1008126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3pPr>
    <a:lvl4pPr marL="1512189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4pPr>
    <a:lvl5pPr marL="2016252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5pPr>
    <a:lvl6pPr marL="2520315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6pPr>
    <a:lvl7pPr marL="3024378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7pPr>
    <a:lvl8pPr marL="3528441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8pPr>
    <a:lvl9pPr marL="4032504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885766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85326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cm.co.uk/planner" TargetMode="External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>
            <a:extLst>
              <a:ext uri="{FF2B5EF4-FFF2-40B4-BE49-F238E27FC236}">
                <a16:creationId xmlns:a16="http://schemas.microsoft.com/office/drawing/2014/main" id="{3BC2EF21-6C6C-49B6-97A7-444E693D456B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416" b="16120"/>
          <a:stretch/>
        </p:blipFill>
        <p:spPr>
          <a:xfrm>
            <a:off x="6934200" y="1371600"/>
            <a:ext cx="6121400" cy="5092700"/>
          </a:xfrm>
        </p:spPr>
      </p:pic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 bwMode="gray">
          <a:xfrm>
            <a:off x="269874" y="1371599"/>
            <a:ext cx="6347493" cy="514755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lease Date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8 August 2021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Cast </a:t>
            </a:r>
          </a:p>
          <a:p>
            <a:pPr>
              <a:lnSpc>
                <a:spcPct val="100000"/>
              </a:lnSpc>
            </a:pPr>
            <a:r>
              <a:rPr lang="en-US" dirty="0" err="1">
                <a:solidFill>
                  <a:schemeClr val="accent6"/>
                </a:solidFill>
              </a:rPr>
              <a:t>Asim</a:t>
            </a:r>
            <a:r>
              <a:rPr lang="en-US" dirty="0">
                <a:solidFill>
                  <a:schemeClr val="accent6"/>
                </a:solidFill>
              </a:rPr>
              <a:t> </a:t>
            </a:r>
            <a:r>
              <a:rPr lang="en-US" dirty="0" err="1">
                <a:solidFill>
                  <a:schemeClr val="accent6"/>
                </a:solidFill>
              </a:rPr>
              <a:t>Chaudry</a:t>
            </a:r>
            <a:r>
              <a:rPr lang="en-US" dirty="0">
                <a:solidFill>
                  <a:schemeClr val="accent6"/>
                </a:solidFill>
              </a:rPr>
              <a:t>, </a:t>
            </a:r>
            <a:r>
              <a:rPr lang="en-US" dirty="0" err="1">
                <a:solidFill>
                  <a:schemeClr val="accent6"/>
                </a:solidFill>
              </a:rPr>
              <a:t>Ayumi</a:t>
            </a:r>
            <a:r>
              <a:rPr lang="en-US" dirty="0">
                <a:solidFill>
                  <a:schemeClr val="accent6"/>
                </a:solidFill>
              </a:rPr>
              <a:t> Ito, Allan Mustafa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Director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Jack Clough (Feature debut)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commended if you like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Brotherhood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asons to buy into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The </a:t>
            </a:r>
            <a:r>
              <a:rPr lang="en-US" i="1" dirty="0">
                <a:solidFill>
                  <a:schemeClr val="accent6"/>
                </a:solidFill>
              </a:rPr>
              <a:t>People Just Do Nothing </a:t>
            </a:r>
            <a:r>
              <a:rPr lang="en-US" dirty="0">
                <a:solidFill>
                  <a:schemeClr val="accent6"/>
                </a:solidFill>
              </a:rPr>
              <a:t>TV series has garnered audience and critical acclaim, scooping a BAFTA for best scripted comedy and Royal Television awards for its cast and performances.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Key audience info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6-34 Adults index: 261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Est. DCM admissions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99k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r>
              <a:rPr lang="en-GB" b="0" dirty="0"/>
              <a:t>A feature film sequel to the British mockumentary series, </a:t>
            </a:r>
            <a:r>
              <a:rPr lang="en-GB" b="0" i="1" dirty="0"/>
              <a:t>People Just Do Nothing</a:t>
            </a:r>
            <a:r>
              <a:rPr lang="en-GB" b="0" dirty="0"/>
              <a:t>, which follows the members of a pirate radio station in their search for fame and fortune.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A9111B8-54BF-4884-9303-64D5F781B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People Just Do Nothing: Big in Japan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4BE2C2-4FD7-470A-9D69-F8C697ED01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69875" y="622014"/>
            <a:ext cx="12423775" cy="436563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A</a:t>
            </a:r>
            <a:r>
              <a:rPr lang="en-GB" dirty="0"/>
              <a:t> British comedy classic gets the big-screen treatment</a:t>
            </a:r>
            <a:endParaRPr lang="en-GB" sz="1400" dirty="0">
              <a:solidFill>
                <a:schemeClr val="accent6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867752-9319-4148-9EC0-5C48F6403853}"/>
              </a:ext>
            </a:extLst>
          </p:cNvPr>
          <p:cNvSpPr txBox="1"/>
          <p:nvPr/>
        </p:nvSpPr>
        <p:spPr>
          <a:xfrm>
            <a:off x="7267688" y="6519155"/>
            <a:ext cx="545442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hlinkClick r:id="rId3"/>
              </a:rPr>
              <a:t>Plan your campaign</a:t>
            </a:r>
            <a:endParaRPr lang="en-US" sz="1600" b="1" dirty="0">
              <a:solidFill>
                <a:schemeClr val="bg1"/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16F28D8-8CD5-48CF-A047-5A46979A2697}"/>
              </a:ext>
            </a:extLst>
          </p:cNvPr>
          <p:cNvGrpSpPr/>
          <p:nvPr/>
        </p:nvGrpSpPr>
        <p:grpSpPr>
          <a:xfrm>
            <a:off x="9430170" y="3353430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B4732596-B5C0-4EFD-90A8-77C205508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9764BB6-7D1B-4BB5-A3D0-F0015E8D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3" y="1663700"/>
              <a:ext cx="1377950" cy="1592263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983072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25</Words>
  <Application>Microsoft Office PowerPoint</Application>
  <PresentationFormat>Custom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Impact</vt:lpstr>
      <vt:lpstr>Wingdings</vt:lpstr>
      <vt:lpstr>Copy Slides</vt:lpstr>
      <vt:lpstr>think-cell Slide</vt:lpstr>
      <vt:lpstr>People Just Do Nothing: Big in Japa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3 2021</dc:title>
  <dc:creator/>
  <dc:description>People Just Do Nothing: Big in Japan</dc:description>
  <cp:lastModifiedBy/>
  <cp:revision>1</cp:revision>
  <dcterms:created xsi:type="dcterms:W3CDTF">2019-03-25T11:13:20Z</dcterms:created>
  <dcterms:modified xsi:type="dcterms:W3CDTF">2021-07-07T10:43:52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Presentation">
    <vt:lpwstr>Q3 2021</vt:lpwstr>
  </property>
  <property fmtid="{D5CDD505-2E9C-101B-9397-08002B2CF9AE}" pid="4" name="SlideDescription">
    <vt:lpwstr>People Just Do Nothing: Big in Japan</vt:lpwstr>
  </property>
</Properties>
</file>